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6" r:id="rId1"/>
  </p:sldMasterIdLst>
  <p:notesMasterIdLst>
    <p:notesMasterId r:id="rId3"/>
  </p:notesMasterIdLst>
  <p:handoutMasterIdLst>
    <p:handoutMasterId r:id="rId4"/>
  </p:handoutMasterIdLst>
  <p:sldIdLst>
    <p:sldId id="511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  <p15:guide id="14" pos="54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E64B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374" autoAdjust="0"/>
    <p:restoredTop sz="95280" autoAdjust="0"/>
  </p:normalViewPr>
  <p:slideViewPr>
    <p:cSldViewPr snapToGrid="0" showGuides="1">
      <p:cViewPr varScale="1">
        <p:scale>
          <a:sx n="110" d="100"/>
          <a:sy n="110" d="100"/>
        </p:scale>
        <p:origin x="1830" y="114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  <p:guide pos="5442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03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03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273169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310334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84" hidden="1">
            <a:extLst>
              <a:ext uri="{FF2B5EF4-FFF2-40B4-BE49-F238E27FC236}">
                <a16:creationId xmlns:a16="http://schemas.microsoft.com/office/drawing/2014/main" id="{53237C02-D8E7-4C9D-A9AB-C935D3E694FD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5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026" name="Objekt 84" hidden="1">
                        <a:extLst>
                          <a:ext uri="{FF2B5EF4-FFF2-40B4-BE49-F238E27FC236}">
                            <a16:creationId xmlns:a16="http://schemas.microsoft.com/office/drawing/2014/main" id="{53237C02-D8E7-4C9D-A9AB-C935D3E694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elplatzhalter 1">
            <a:extLst>
              <a:ext uri="{FF2B5EF4-FFF2-40B4-BE49-F238E27FC236}">
                <a16:creationId xmlns:a16="http://schemas.microsoft.com/office/drawing/2014/main" id="{A2235726-AE76-45F4-BE46-9738A32743CA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1028" name="Textplatzhalter 2">
            <a:extLst>
              <a:ext uri="{FF2B5EF4-FFF2-40B4-BE49-F238E27FC236}">
                <a16:creationId xmlns:a16="http://schemas.microsoft.com/office/drawing/2014/main" id="{6FE2309C-8D81-43C3-A085-42A0B3AF7D0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B63174A3-CFC9-46EE-9395-3D308967C173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March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6D3032E0-635E-4A3F-B457-330E5A29BDB0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D3B48D69-34C4-4A99-BF76-BDD6DBE56BEE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1031" name="Group 7">
            <a:extLst>
              <a:ext uri="{FF2B5EF4-FFF2-40B4-BE49-F238E27FC236}">
                <a16:creationId xmlns:a16="http://schemas.microsoft.com/office/drawing/2014/main" id="{6E1FE47B-AE08-4085-A66B-06C06BF268DB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1034" name="Freeform 8">
              <a:extLst>
                <a:ext uri="{FF2B5EF4-FFF2-40B4-BE49-F238E27FC236}">
                  <a16:creationId xmlns:a16="http://schemas.microsoft.com/office/drawing/2014/main" id="{7490D156-6ECB-4057-9C32-A935F6383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5" name="Freeform 9">
              <a:extLst>
                <a:ext uri="{FF2B5EF4-FFF2-40B4-BE49-F238E27FC236}">
                  <a16:creationId xmlns:a16="http://schemas.microsoft.com/office/drawing/2014/main" id="{953D35AA-C602-4B69-A604-A4CCBA65CB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869841757 w 501"/>
                <a:gd name="T1" fmla="*/ 1659837019 h 429"/>
                <a:gd name="T2" fmla="*/ 1764144785 w 501"/>
                <a:gd name="T3" fmla="*/ 1521425573 h 429"/>
                <a:gd name="T4" fmla="*/ 1725057837 w 501"/>
                <a:gd name="T5" fmla="*/ 1469247882 h 429"/>
                <a:gd name="T6" fmla="*/ 1499934531 w 501"/>
                <a:gd name="T7" fmla="*/ 1361880031 h 429"/>
                <a:gd name="T8" fmla="*/ 1208442835 w 501"/>
                <a:gd name="T9" fmla="*/ 1659837019 h 429"/>
                <a:gd name="T10" fmla="*/ 1499934531 w 501"/>
                <a:gd name="T11" fmla="*/ 1951342137 h 429"/>
                <a:gd name="T12" fmla="*/ 1725057837 w 501"/>
                <a:gd name="T13" fmla="*/ 1845836989 h 429"/>
                <a:gd name="T14" fmla="*/ 1764144785 w 501"/>
                <a:gd name="T15" fmla="*/ 1792865048 h 429"/>
                <a:gd name="T16" fmla="*/ 1869841757 w 501"/>
                <a:gd name="T17" fmla="*/ 1659837019 h 429"/>
                <a:gd name="T18" fmla="*/ 844430463 w 501"/>
                <a:gd name="T19" fmla="*/ 1653081009 h 429"/>
                <a:gd name="T20" fmla="*/ 1499934531 w 501"/>
                <a:gd name="T21" fmla="*/ 995327786 h 429"/>
                <a:gd name="T22" fmla="*/ 2000652606 w 501"/>
                <a:gd name="T23" fmla="*/ 1229070891 h 429"/>
                <a:gd name="T24" fmla="*/ 2004353788 w 501"/>
                <a:gd name="T25" fmla="*/ 1240249847 h 429"/>
                <a:gd name="T26" fmla="*/ 2015706786 w 501"/>
                <a:gd name="T27" fmla="*/ 1235513344 h 429"/>
                <a:gd name="T28" fmla="*/ 1300958765 w 501"/>
                <a:gd name="T29" fmla="*/ 0 h 429"/>
                <a:gd name="T30" fmla="*/ 0 w 501"/>
                <a:gd name="T31" fmla="*/ 2147483646 h 429"/>
                <a:gd name="T32" fmla="*/ 1270102821 w 501"/>
                <a:gd name="T33" fmla="*/ 2147483646 h 429"/>
                <a:gd name="T34" fmla="*/ 1276833177 w 501"/>
                <a:gd name="T35" fmla="*/ 2147483646 h 429"/>
                <a:gd name="T36" fmla="*/ 1145170959 w 501"/>
                <a:gd name="T37" fmla="*/ 2147483646 h 429"/>
                <a:gd name="T38" fmla="*/ 844430463 w 501"/>
                <a:gd name="T39" fmla="*/ 1653081009 h 429"/>
                <a:gd name="T40" fmla="*/ 2147483646 w 501"/>
                <a:gd name="T41" fmla="*/ 2147483646 h 429"/>
                <a:gd name="T42" fmla="*/ 2147483646 w 501"/>
                <a:gd name="T43" fmla="*/ 2147483646 h 429"/>
                <a:gd name="T44" fmla="*/ 2107862744 w 501"/>
                <a:gd name="T45" fmla="*/ 1944597706 h 429"/>
                <a:gd name="T46" fmla="*/ 1978183592 w 501"/>
                <a:gd name="T47" fmla="*/ 2110879886 h 429"/>
                <a:gd name="T48" fmla="*/ 1733656531 w 501"/>
                <a:gd name="T49" fmla="*/ 2147483646 h 429"/>
                <a:gd name="T50" fmla="*/ 1733656531 w 501"/>
                <a:gd name="T51" fmla="*/ 2147483646 h 429"/>
                <a:gd name="T52" fmla="*/ 2147483646 w 501"/>
                <a:gd name="T53" fmla="*/ 2147483646 h 429"/>
                <a:gd name="T54" fmla="*/ 2147483646 w 501"/>
                <a:gd name="T55" fmla="*/ 2147483646 h 429"/>
                <a:gd name="T56" fmla="*/ 2147483646 w 501"/>
                <a:gd name="T57" fmla="*/ 2147483646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6" name="Freeform 10">
              <a:extLst>
                <a:ext uri="{FF2B5EF4-FFF2-40B4-BE49-F238E27FC236}">
                  <a16:creationId xmlns:a16="http://schemas.microsoft.com/office/drawing/2014/main" id="{BB852431-5053-4CB9-BD3B-B3CFC9A75F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01767805 w 937"/>
                <a:gd name="T1" fmla="*/ 711138951 h 326"/>
                <a:gd name="T2" fmla="*/ 410687662 w 937"/>
                <a:gd name="T3" fmla="*/ 465599188 h 326"/>
                <a:gd name="T4" fmla="*/ 658110446 w 937"/>
                <a:gd name="T5" fmla="*/ 276863184 h 326"/>
                <a:gd name="T6" fmla="*/ 978929204 w 937"/>
                <a:gd name="T7" fmla="*/ 522757726 h 326"/>
                <a:gd name="T8" fmla="*/ 1334169885 w 937"/>
                <a:gd name="T9" fmla="*/ 522757726 h 326"/>
                <a:gd name="T10" fmla="*/ 673981114 w 937"/>
                <a:gd name="T11" fmla="*/ 0 h 326"/>
                <a:gd name="T12" fmla="*/ 62385095 w 937"/>
                <a:gd name="T13" fmla="*/ 491791576 h 326"/>
                <a:gd name="T14" fmla="*/ 548530255 w 937"/>
                <a:gd name="T15" fmla="*/ 957093254 h 326"/>
                <a:gd name="T16" fmla="*/ 1037599821 w 937"/>
                <a:gd name="T17" fmla="*/ 1225687750 h 326"/>
                <a:gd name="T18" fmla="*/ 715650536 w 937"/>
                <a:gd name="T19" fmla="*/ 1429016220 h 326"/>
                <a:gd name="T20" fmla="*/ 352033256 w 937"/>
                <a:gd name="T21" fmla="*/ 1125932337 h 326"/>
                <a:gd name="T22" fmla="*/ 4728972 w 937"/>
                <a:gd name="T23" fmla="*/ 1125932337 h 326"/>
                <a:gd name="T24" fmla="*/ 707117927 w 937"/>
                <a:gd name="T25" fmla="*/ 1706716319 h 326"/>
                <a:gd name="T26" fmla="*/ 1384902835 w 937"/>
                <a:gd name="T27" fmla="*/ 1183118711 h 326"/>
                <a:gd name="T28" fmla="*/ 901767805 w 937"/>
                <a:gd name="T29" fmla="*/ 711138951 h 326"/>
                <a:gd name="T30" fmla="*/ 2147483646 w 937"/>
                <a:gd name="T31" fmla="*/ 634436110 h 326"/>
                <a:gd name="T32" fmla="*/ 2147483646 w 937"/>
                <a:gd name="T33" fmla="*/ 634436110 h 326"/>
                <a:gd name="T34" fmla="*/ 2147483646 w 937"/>
                <a:gd name="T35" fmla="*/ 454108485 h 326"/>
                <a:gd name="T36" fmla="*/ 1972169981 w 937"/>
                <a:gd name="T37" fmla="*/ 1067889945 h 326"/>
                <a:gd name="T38" fmla="*/ 2147483646 w 937"/>
                <a:gd name="T39" fmla="*/ 1702328018 h 326"/>
                <a:gd name="T40" fmla="*/ 2147483646 w 937"/>
                <a:gd name="T41" fmla="*/ 1518287469 h 326"/>
                <a:gd name="T42" fmla="*/ 2147483646 w 937"/>
                <a:gd name="T43" fmla="*/ 1518287469 h 326"/>
                <a:gd name="T44" fmla="*/ 2147483646 w 937"/>
                <a:gd name="T45" fmla="*/ 1669346971 h 326"/>
                <a:gd name="T46" fmla="*/ 2147483646 w 937"/>
                <a:gd name="T47" fmla="*/ 1669346971 h 326"/>
                <a:gd name="T48" fmla="*/ 2147483646 w 937"/>
                <a:gd name="T49" fmla="*/ 42033339 h 326"/>
                <a:gd name="T50" fmla="*/ 2147483646 w 937"/>
                <a:gd name="T51" fmla="*/ 42033339 h 326"/>
                <a:gd name="T52" fmla="*/ 2147483646 w 937"/>
                <a:gd name="T53" fmla="*/ 634436110 h 326"/>
                <a:gd name="T54" fmla="*/ 2147483646 w 937"/>
                <a:gd name="T55" fmla="*/ 1456419223 h 326"/>
                <a:gd name="T56" fmla="*/ 2147483646 w 937"/>
                <a:gd name="T57" fmla="*/ 1078984554 h 326"/>
                <a:gd name="T58" fmla="*/ 2147483646 w 937"/>
                <a:gd name="T59" fmla="*/ 702723735 h 326"/>
                <a:gd name="T60" fmla="*/ 2147483646 w 937"/>
                <a:gd name="T61" fmla="*/ 1072587526 h 326"/>
                <a:gd name="T62" fmla="*/ 2147483646 w 937"/>
                <a:gd name="T63" fmla="*/ 1456419223 h 326"/>
                <a:gd name="T64" fmla="*/ 2147483646 w 937"/>
                <a:gd name="T65" fmla="*/ 454108485 h 326"/>
                <a:gd name="T66" fmla="*/ 2147483646 w 937"/>
                <a:gd name="T67" fmla="*/ 1078984554 h 326"/>
                <a:gd name="T68" fmla="*/ 2147483646 w 937"/>
                <a:gd name="T69" fmla="*/ 1702328018 h 326"/>
                <a:gd name="T70" fmla="*/ 2147483646 w 937"/>
                <a:gd name="T71" fmla="*/ 1303534835 h 326"/>
                <a:gd name="T72" fmla="*/ 2147483646 w 937"/>
                <a:gd name="T73" fmla="*/ 1303534835 h 326"/>
                <a:gd name="T74" fmla="*/ 2147483646 w 937"/>
                <a:gd name="T75" fmla="*/ 1456419223 h 326"/>
                <a:gd name="T76" fmla="*/ 2147483646 w 937"/>
                <a:gd name="T77" fmla="*/ 1156886564 h 326"/>
                <a:gd name="T78" fmla="*/ 2147483646 w 937"/>
                <a:gd name="T79" fmla="*/ 1156886564 h 326"/>
                <a:gd name="T80" fmla="*/ 2147483646 w 937"/>
                <a:gd name="T81" fmla="*/ 454108485 h 326"/>
                <a:gd name="T82" fmla="*/ 2147483646 w 937"/>
                <a:gd name="T83" fmla="*/ 953533546 h 326"/>
                <a:gd name="T84" fmla="*/ 2147483646 w 937"/>
                <a:gd name="T85" fmla="*/ 702723735 h 326"/>
                <a:gd name="T86" fmla="*/ 2147483646 w 937"/>
                <a:gd name="T87" fmla="*/ 953533546 h 326"/>
                <a:gd name="T88" fmla="*/ 2147483646 w 937"/>
                <a:gd name="T89" fmla="*/ 953533546 h 326"/>
                <a:gd name="T90" fmla="*/ 2147483646 w 937"/>
                <a:gd name="T91" fmla="*/ 1669346971 h 326"/>
                <a:gd name="T92" fmla="*/ 2147483646 w 937"/>
                <a:gd name="T93" fmla="*/ 1669346971 h 326"/>
                <a:gd name="T94" fmla="*/ 2147483646 w 937"/>
                <a:gd name="T95" fmla="*/ 42033339 h 326"/>
                <a:gd name="T96" fmla="*/ 2147483646 w 937"/>
                <a:gd name="T97" fmla="*/ 42033339 h 326"/>
                <a:gd name="T98" fmla="*/ 2147483646 w 937"/>
                <a:gd name="T99" fmla="*/ 1669346971 h 326"/>
                <a:gd name="T100" fmla="*/ 1507507815 w 937"/>
                <a:gd name="T101" fmla="*/ 1669346971 h 326"/>
                <a:gd name="T102" fmla="*/ 1833453356 w 937"/>
                <a:gd name="T103" fmla="*/ 1669346971 h 326"/>
                <a:gd name="T104" fmla="*/ 1833453356 w 937"/>
                <a:gd name="T105" fmla="*/ 487782985 h 326"/>
                <a:gd name="T106" fmla="*/ 1507507815 w 937"/>
                <a:gd name="T107" fmla="*/ 487782985 h 326"/>
                <a:gd name="T108" fmla="*/ 1507507815 w 937"/>
                <a:gd name="T109" fmla="*/ 1669346971 h 326"/>
                <a:gd name="T110" fmla="*/ 1507507815 w 937"/>
                <a:gd name="T111" fmla="*/ 307968761 h 326"/>
                <a:gd name="T112" fmla="*/ 1833453356 w 937"/>
                <a:gd name="T113" fmla="*/ 307968761 h 326"/>
                <a:gd name="T114" fmla="*/ 1833453356 w 937"/>
                <a:gd name="T115" fmla="*/ 42033339 h 326"/>
                <a:gd name="T116" fmla="*/ 1507507815 w 937"/>
                <a:gd name="T117" fmla="*/ 42033339 h 326"/>
                <a:gd name="T118" fmla="*/ 1507507815 w 937"/>
                <a:gd name="T119" fmla="*/ 307968761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96D2574F-E91E-46FE-B42D-B5DDB55C877C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E75EFCC3-3A40-4159-8123-C21E171D07E3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396373949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">
            <a:extLst>
              <a:ext uri="{FF2B5EF4-FFF2-40B4-BE49-F238E27FC236}">
                <a16:creationId xmlns:a16="http://schemas.microsoft.com/office/drawing/2014/main" id="{2276A5AF-C747-4EC3-B364-999FA2E91008}"/>
              </a:ext>
            </a:extLst>
          </p:cNvPr>
          <p:cNvGrpSpPr>
            <a:grpSpLocks/>
          </p:cNvGrpSpPr>
          <p:nvPr/>
        </p:nvGrpSpPr>
        <p:grpSpPr bwMode="auto">
          <a:xfrm>
            <a:off x="654050" y="1779588"/>
            <a:ext cx="7991475" cy="4055155"/>
            <a:chOff x="647700" y="1908175"/>
            <a:chExt cx="7991475" cy="3938588"/>
          </a:xfrm>
        </p:grpSpPr>
        <p:sp>
          <p:nvSpPr>
            <p:cNvPr id="18" name="Rechteck 3">
              <a:extLst>
                <a:ext uri="{FF2B5EF4-FFF2-40B4-BE49-F238E27FC236}">
                  <a16:creationId xmlns:a16="http://schemas.microsoft.com/office/drawing/2014/main" id="{EE63E47C-A43B-46E1-B2FA-C794E77D3811}"/>
                </a:ext>
              </a:extLst>
            </p:cNvPr>
            <p:cNvSpPr/>
            <p:nvPr/>
          </p:nvSpPr>
          <p:spPr>
            <a:xfrm>
              <a:off x="647700" y="1908175"/>
              <a:ext cx="3889375" cy="40005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pt-BR" sz="1400" b="1" dirty="0">
                  <a:solidFill>
                    <a:srgbClr val="FFFFFF"/>
                  </a:solidFill>
                  <a:ea typeface="MS PGothic" pitchFamily="34" charset="-128"/>
                </a:rPr>
                <a:t>VALOR E VANTAGENS</a:t>
              </a:r>
            </a:p>
          </p:txBody>
        </p:sp>
        <p:sp>
          <p:nvSpPr>
            <p:cNvPr id="19" name="Rechteck 4">
              <a:extLst>
                <a:ext uri="{FF2B5EF4-FFF2-40B4-BE49-F238E27FC236}">
                  <a16:creationId xmlns:a16="http://schemas.microsoft.com/office/drawing/2014/main" id="{E7FDF70D-BF3E-4978-BC3C-012188DDB340}"/>
                </a:ext>
              </a:extLst>
            </p:cNvPr>
            <p:cNvSpPr>
              <a:spLocks/>
            </p:cNvSpPr>
            <p:nvPr/>
          </p:nvSpPr>
          <p:spPr>
            <a:xfrm>
              <a:off x="647700" y="2308225"/>
              <a:ext cx="3889375" cy="35385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indent="-182563" eaLnBrk="1" hangingPunct="1">
                <a:spcBef>
                  <a:spcPct val="45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x-none" sz="1050" dirty="0">
                <a:solidFill>
                  <a:srgbClr val="000000"/>
                </a:solidFill>
              </a:endParaRPr>
            </a:p>
          </p:txBody>
        </p:sp>
        <p:sp>
          <p:nvSpPr>
            <p:cNvPr id="20" name="Rechteck 11">
              <a:extLst>
                <a:ext uri="{FF2B5EF4-FFF2-40B4-BE49-F238E27FC236}">
                  <a16:creationId xmlns:a16="http://schemas.microsoft.com/office/drawing/2014/main" id="{D09741C4-BAD7-43A5-821C-E0662ECD5612}"/>
                </a:ext>
              </a:extLst>
            </p:cNvPr>
            <p:cNvSpPr/>
            <p:nvPr/>
          </p:nvSpPr>
          <p:spPr>
            <a:xfrm>
              <a:off x="4749800" y="1908175"/>
              <a:ext cx="3889375" cy="40005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lvl="0" indent="-190500" fontAlgn="base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pt-BR" sz="1400" b="1" noProof="1">
                  <a:solidFill>
                    <a:srgbClr val="FFFFFF"/>
                  </a:solidFill>
                  <a:latin typeface="Arial" charset="0"/>
                  <a:cs typeface="Arial" charset="0"/>
                </a:rPr>
                <a:t>DESCRIÇÃO</a:t>
              </a:r>
            </a:p>
          </p:txBody>
        </p:sp>
        <p:sp>
          <p:nvSpPr>
            <p:cNvPr id="25" name="Rechteck 12">
              <a:extLst>
                <a:ext uri="{FF2B5EF4-FFF2-40B4-BE49-F238E27FC236}">
                  <a16:creationId xmlns:a16="http://schemas.microsoft.com/office/drawing/2014/main" id="{3F432223-CD75-4CE3-9E88-C5973A30107A}"/>
                </a:ext>
              </a:extLst>
            </p:cNvPr>
            <p:cNvSpPr>
              <a:spLocks/>
            </p:cNvSpPr>
            <p:nvPr/>
          </p:nvSpPr>
          <p:spPr>
            <a:xfrm>
              <a:off x="4749800" y="2305050"/>
              <a:ext cx="3889375" cy="35417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lvl="1" indent="-182563" eaLnBrk="1" hangingPunct="1">
                <a:spcBef>
                  <a:spcPts val="300"/>
                </a:spcBef>
                <a:buClr>
                  <a:srgbClr val="E64B00"/>
                </a:buClr>
                <a:buSzPct val="100000"/>
                <a:buFont typeface="Wingdings" charset="2"/>
                <a:buChar char="§"/>
                <a:tabLst>
                  <a:tab pos="2974975" algn="l"/>
                  <a:tab pos="3151188" algn="l"/>
                </a:tabLst>
                <a:defRPr/>
              </a:pPr>
              <a:endParaRPr lang="en-US" altLang="x-none" sz="1050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pt-BR" dirty="0"/>
              <a:t>Previna paradas por falta de peças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2130"/>
            <a:ext cx="7997825" cy="307975"/>
          </a:xfrm>
        </p:spPr>
        <p:txBody>
          <a:bodyPr/>
          <a:lstStyle/>
          <a:p>
            <a:r>
              <a:rPr lang="pt-BR" dirty="0"/>
              <a:t>Novo servo-inversor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431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or: Obsolescência, </a:t>
            </a:r>
            <a:r>
              <a:rPr lang="pt-BR" sz="800" dirty="0">
                <a:solidFill>
                  <a:srgbClr val="000000"/>
                </a:solidFill>
              </a:rPr>
              <a:t>Manutenção, O</a:t>
            </a:r>
            <a:r>
              <a:rPr lang="en-US" sz="800" dirty="0" err="1">
                <a:solidFill>
                  <a:srgbClr val="000000"/>
                </a:solidFill>
              </a:rPr>
              <a:t>timização</a:t>
            </a:r>
            <a:r>
              <a:rPr lang="en-US" sz="800" dirty="0">
                <a:solidFill>
                  <a:srgbClr val="000000"/>
                </a:solidFill>
              </a:rPr>
              <a:t> de custos</a:t>
            </a:r>
            <a:endParaRPr kumimoji="0" lang="pt-B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lvl="0">
              <a:defRPr/>
            </a:pP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amento: </a:t>
            </a:r>
            <a:r>
              <a:rPr lang="en-GB" altLang="fr-FR" sz="800" dirty="0">
                <a:solidFill>
                  <a:srgbClr val="000000"/>
                </a:solidFill>
              </a:rPr>
              <a:t>All Packing type AN, ER 30, ER 60, SD before 2002, fitted with a numerical control Cyber or NUM 1040,  IRT 1335, 1510, 1518, SEW Serie A, and </a:t>
            </a:r>
            <a:r>
              <a:rPr lang="en-GB" altLang="fr-FR" sz="800" dirty="0" err="1">
                <a:solidFill>
                  <a:srgbClr val="000000"/>
                </a:solidFill>
              </a:rPr>
              <a:t>Parvex</a:t>
            </a:r>
            <a:r>
              <a:rPr lang="en-GB" altLang="fr-FR" sz="800" dirty="0">
                <a:solidFill>
                  <a:srgbClr val="000000"/>
                </a:solidFill>
              </a:rPr>
              <a:t> motors</a:t>
            </a:r>
            <a:endParaRPr kumimoji="0" lang="pt-B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lvl="0">
              <a:defRPr/>
            </a:pPr>
            <a:r>
              <a:rPr lang="en-US" sz="800" kern="0" noProof="1">
                <a:solidFill>
                  <a:srgbClr val="000000"/>
                </a:solidFill>
                <a:latin typeface="Arial"/>
              </a:rPr>
              <a:t>Catálogo código </a:t>
            </a: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: CLC-016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8447" y="2181995"/>
            <a:ext cx="3920515" cy="24114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Material de última geração e peças sobressalentes disponíveis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Otimização de performance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Aumento da viabilidade e produtividade, evita longos tempos de parada em caso de quebra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Autonomia da equipe de manutenção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Maior capacidade de memória, permitindo lidar com tamanhos extras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Novas funções adicionais disponíveis como opção (ajuste fino)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Diagnóstico mais fácil para manutenção</a:t>
            </a:r>
            <a:endParaRPr lang="pt-BR" sz="1100" spc="-40" dirty="0">
              <a:solidFill>
                <a:srgbClr val="00000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199168"/>
            <a:ext cx="3910143" cy="7950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pt-BR" sz="1100" dirty="0">
                <a:solidFill>
                  <a:srgbClr val="000000"/>
                </a:solidFill>
              </a:rPr>
              <a:t>Forneça um novo servo-inversor com Sew Movidrive Série B.</a:t>
            </a:r>
          </a:p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pt-BR" sz="1100" dirty="0">
                <a:solidFill>
                  <a:srgbClr val="000000"/>
                </a:solidFill>
              </a:rPr>
              <a:t>Substituir o sistema de motorização, não compatível, pelo sistema Sew.</a:t>
            </a:r>
          </a:p>
        </p:txBody>
      </p:sp>
      <p:sp>
        <p:nvSpPr>
          <p:cNvPr id="21" name="Flèche droite 2">
            <a:extLst>
              <a:ext uri="{FF2B5EF4-FFF2-40B4-BE49-F238E27FC236}">
                <a16:creationId xmlns:a16="http://schemas.microsoft.com/office/drawing/2014/main" id="{04AC884C-39BA-4030-B1A4-EB7C60DE68CA}"/>
              </a:ext>
            </a:extLst>
          </p:cNvPr>
          <p:cNvSpPr>
            <a:spLocks/>
          </p:cNvSpPr>
          <p:nvPr/>
        </p:nvSpPr>
        <p:spPr>
          <a:xfrm>
            <a:off x="6381174" y="3764847"/>
            <a:ext cx="619053" cy="766910"/>
          </a:xfrm>
          <a:prstGeom prst="rightArrow">
            <a:avLst/>
          </a:prstGeom>
          <a:solidFill>
            <a:srgbClr val="E64B00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endParaRPr lang="fr-FR" dirty="0"/>
          </a:p>
        </p:txBody>
      </p:sp>
      <p:pic>
        <p:nvPicPr>
          <p:cNvPr id="22" name="Image 11">
            <a:extLst>
              <a:ext uri="{FF2B5EF4-FFF2-40B4-BE49-F238E27FC236}">
                <a16:creationId xmlns:a16="http://schemas.microsoft.com/office/drawing/2014/main" id="{47970B52-A7E7-4DA9-A3A9-495A8E030BC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78980" y="3028164"/>
            <a:ext cx="1530224" cy="2735015"/>
          </a:xfrm>
          <a:prstGeom prst="rect">
            <a:avLst/>
          </a:prstGeom>
        </p:spPr>
      </p:pic>
      <p:pic>
        <p:nvPicPr>
          <p:cNvPr id="23" name="Image 12">
            <a:extLst>
              <a:ext uri="{FF2B5EF4-FFF2-40B4-BE49-F238E27FC236}">
                <a16:creationId xmlns:a16="http://schemas.microsoft.com/office/drawing/2014/main" id="{69BBF967-370E-4B9C-8D57-EC4E9FA6099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36820" y="2978543"/>
            <a:ext cx="1286886" cy="2789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7411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2801</TotalTime>
  <Words>146</Words>
  <Application>Microsoft Office PowerPoint</Application>
  <PresentationFormat>On-screen Show (4:3)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1_NewSidel_Template_4x3_with add layouts</vt:lpstr>
      <vt:lpstr>think-cell Folie</vt:lpstr>
      <vt:lpstr>Previna paradas por falta de peça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Sorega, Dan</cp:lastModifiedBy>
  <cp:revision>287</cp:revision>
  <dcterms:created xsi:type="dcterms:W3CDTF">2019-02-20T10:39:16Z</dcterms:created>
  <dcterms:modified xsi:type="dcterms:W3CDTF">2021-03-26T13:24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etDate">
    <vt:lpwstr>2021-03-26T13:24:45Z</vt:lpwstr>
  </property>
  <property fmtid="{D5CDD505-2E9C-101B-9397-08002B2CF9AE}" pid="6" name="MSIP_Label_94480757-a570-4f64-84e7-c5b3ffe9d573_Method">
    <vt:lpwstr>Standard</vt:lpwstr>
  </property>
  <property fmtid="{D5CDD505-2E9C-101B-9397-08002B2CF9AE}" pid="7" name="MSIP_Label_94480757-a570-4f64-84e7-c5b3ffe9d573_Name">
    <vt:lpwstr>General</vt:lpwstr>
  </property>
  <property fmtid="{D5CDD505-2E9C-101B-9397-08002B2CF9AE}" pid="8" name="MSIP_Label_94480757-a570-4f64-84e7-c5b3ffe9d573_SiteId">
    <vt:lpwstr>2390cbd1-e663-4321-bc93-ba298637ce52</vt:lpwstr>
  </property>
  <property fmtid="{D5CDD505-2E9C-101B-9397-08002B2CF9AE}" pid="9" name="MSIP_Label_94480757-a570-4f64-84e7-c5b3ffe9d573_ActionId">
    <vt:lpwstr/>
  </property>
  <property fmtid="{D5CDD505-2E9C-101B-9397-08002B2CF9AE}" pid="10" name="MSIP_Label_94480757-a570-4f64-84e7-c5b3ffe9d573_ContentBits">
    <vt:lpwstr>2</vt:lpwstr>
  </property>
</Properties>
</file>